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ユーザー名不明1" initials="ユーザー名不明1" lastIdx="20" clrIdx="0">
    <p:extLst>
      <p:ext uri="{19B8F6BF-5375-455C-9EA6-DF929625EA0E}">
        <p15:presenceInfo xmlns:p15="http://schemas.microsoft.com/office/powerpoint/2012/main" userId="S::miteshima@tohmatsu.co.jp::4ce32794-bca9-4413-b02a-c3d46948b2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 useTimings="0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84E"/>
    <a:srgbClr val="009C89"/>
    <a:srgbClr val="D5FAF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DE979D-936D-42F6-8C19-1337C85A1E66}" v="443" dt="2025-02-10T10:00:03.48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スタイルなし、表のグリッド線なし">
    <a:wholeTbl>
      <a:tcTxStyle>
        <a:fontRef idx="minor">
          <a:srgbClr val="00000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512" y="84"/>
      </p:cViewPr>
      <p:guideLst>
        <p:guide pos="3143"/>
        <p:guide orient="horz" pos="5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當銀 郁弥（FUMIYA TOGIN）" userId="310f1a6c-c858-4dcb-8bbc-44e1f5d5be95" providerId="ADAL" clId="{97652996-BDF6-46B0-BF29-8B91D2C7F611}"/>
    <pc:docChg chg="modSld">
      <pc:chgData name="當銀 郁弥（FUMIYA TOGIN）" userId="310f1a6c-c858-4dcb-8bbc-44e1f5d5be95" providerId="ADAL" clId="{97652996-BDF6-46B0-BF29-8B91D2C7F611}" dt="2025-02-10T09:54:07.552" v="139" actId="14100"/>
      <pc:docMkLst>
        <pc:docMk/>
      </pc:docMkLst>
      <pc:sldChg chg="modSp mod">
        <pc:chgData name="當銀 郁弥（FUMIYA TOGIN）" userId="310f1a6c-c858-4dcb-8bbc-44e1f5d5be95" providerId="ADAL" clId="{97652996-BDF6-46B0-BF29-8B91D2C7F611}" dt="2025-02-10T09:54:07.552" v="139" actId="14100"/>
        <pc:sldMkLst>
          <pc:docMk/>
          <pc:sldMk cId="2326814099" sldId="308"/>
        </pc:sldMkLst>
        <pc:spChg chg="mod">
          <ac:chgData name="當銀 郁弥（FUMIYA TOGIN）" userId="310f1a6c-c858-4dcb-8bbc-44e1f5d5be95" providerId="ADAL" clId="{97652996-BDF6-46B0-BF29-8B91D2C7F611}" dt="2025-02-10T09:54:07.552" v="139" actId="14100"/>
          <ac:spMkLst>
            <pc:docMk/>
            <pc:sldMk cId="2326814099" sldId="308"/>
            <ac:spMk id="56" creationId="{25C79341-2B16-0338-67A0-1A6A447A22E9}"/>
          </ac:spMkLst>
        </pc:spChg>
      </pc:sldChg>
    </pc:docChg>
  </pc:docChgLst>
  <pc:docChgLst>
    <pc:chgData name="柳田 優作（YUSAKU YANAGITA）" userId="eec769e5-c603-4458-beff-becbca02a501" providerId="ADAL" clId="{05DE979D-936D-42F6-8C19-1337C85A1E66}"/>
    <pc:docChg chg="undo custSel addSld delSld modSld">
      <pc:chgData name="柳田 優作（YUSAKU YANAGITA）" userId="eec769e5-c603-4458-beff-becbca02a501" providerId="ADAL" clId="{05DE979D-936D-42F6-8C19-1337C85A1E66}" dt="2025-02-14T01:13:06.541" v="488" actId="478"/>
      <pc:docMkLst>
        <pc:docMk/>
      </pc:docMkLst>
      <pc:sldChg chg="modSp mod">
        <pc:chgData name="柳田 優作（YUSAKU YANAGITA）" userId="eec769e5-c603-4458-beff-becbca02a501" providerId="ADAL" clId="{05DE979D-936D-42F6-8C19-1337C85A1E66}" dt="2025-02-10T10:00:03.489" v="485" actId="1076"/>
        <pc:sldMkLst>
          <pc:docMk/>
          <pc:sldMk cId="3782608660" sldId="306"/>
        </pc:sldMkLst>
        <pc:spChg chg="mod ord">
          <ac:chgData name="柳田 優作（YUSAKU YANAGITA）" userId="eec769e5-c603-4458-beff-becbca02a501" providerId="ADAL" clId="{05DE979D-936D-42F6-8C19-1337C85A1E66}" dt="2025-02-10T09:59:51.099" v="483" actId="1076"/>
          <ac:spMkLst>
            <pc:docMk/>
            <pc:sldMk cId="3782608660" sldId="306"/>
            <ac:spMk id="52" creationId="{8977F169-AAE0-B4E2-5799-32EE9600C97E}"/>
          </ac:spMkLst>
        </pc:spChg>
        <pc:spChg chg="mod ord">
          <ac:chgData name="柳田 優作（YUSAKU YANAGITA）" userId="eec769e5-c603-4458-beff-becbca02a501" providerId="ADAL" clId="{05DE979D-936D-42F6-8C19-1337C85A1E66}" dt="2025-02-10T10:00:03.489" v="485" actId="1076"/>
          <ac:spMkLst>
            <pc:docMk/>
            <pc:sldMk cId="3782608660" sldId="306"/>
            <ac:spMk id="62" creationId="{DEFD27CD-E277-C1AA-DDF2-E3763801D777}"/>
          </ac:spMkLst>
        </pc:spChg>
        <pc:spChg chg="mod">
          <ac:chgData name="柳田 優作（YUSAKU YANAGITA）" userId="eec769e5-c603-4458-beff-becbca02a501" providerId="ADAL" clId="{05DE979D-936D-42F6-8C19-1337C85A1E66}" dt="2025-02-10T09:56:40.548" v="451"/>
          <ac:spMkLst>
            <pc:docMk/>
            <pc:sldMk cId="3782608660" sldId="306"/>
            <ac:spMk id="64" creationId="{8B2B7D50-F71C-7BC8-7EE1-C299CE5B3EDB}"/>
          </ac:spMkLst>
        </pc:spChg>
      </pc:sldChg>
      <pc:sldChg chg="del">
        <pc:chgData name="柳田 優作（YUSAKU YANAGITA）" userId="eec769e5-c603-4458-beff-becbca02a501" providerId="ADAL" clId="{05DE979D-936D-42F6-8C19-1337C85A1E66}" dt="2025-02-10T09:57:21.032" v="452" actId="47"/>
        <pc:sldMkLst>
          <pc:docMk/>
          <pc:sldMk cId="4147088603" sldId="307"/>
        </pc:sldMkLst>
      </pc:sldChg>
      <pc:sldChg chg="addSp delSp modSp add mod">
        <pc:chgData name="柳田 優作（YUSAKU YANAGITA）" userId="eec769e5-c603-4458-beff-becbca02a501" providerId="ADAL" clId="{05DE979D-936D-42F6-8C19-1337C85A1E66}" dt="2025-02-14T01:13:06.541" v="488" actId="478"/>
        <pc:sldMkLst>
          <pc:docMk/>
          <pc:sldMk cId="2326814099" sldId="308"/>
        </pc:sldMkLst>
        <pc:spChg chg="add del mod">
          <ac:chgData name="柳田 優作（YUSAKU YANAGITA）" userId="eec769e5-c603-4458-beff-becbca02a501" providerId="ADAL" clId="{05DE979D-936D-42F6-8C19-1337C85A1E66}" dt="2025-02-14T01:13:06.541" v="488" actId="478"/>
          <ac:spMkLst>
            <pc:docMk/>
            <pc:sldMk cId="2326814099" sldId="308"/>
            <ac:spMk id="6" creationId="{1E54687A-FFB3-53AA-29AA-D5819CD846D9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45" creationId="{D325590D-3F0F-300A-8813-22AE80EE1AEE}"/>
          </ac:spMkLst>
        </pc:spChg>
        <pc:spChg chg="add mod">
          <ac:chgData name="柳田 優作（YUSAKU YANAGITA）" userId="eec769e5-c603-4458-beff-becbca02a501" providerId="ADAL" clId="{05DE979D-936D-42F6-8C19-1337C85A1E66}" dt="2025-02-10T09:50:50.638" v="73"/>
          <ac:spMkLst>
            <pc:docMk/>
            <pc:sldMk cId="2326814099" sldId="308"/>
            <ac:spMk id="47" creationId="{47AD4598-C51D-9E67-810C-26E527C922CF}"/>
          </ac:spMkLst>
        </pc:spChg>
        <pc:spChg chg="mod">
          <ac:chgData name="柳田 優作（YUSAKU YANAGITA）" userId="eec769e5-c603-4458-beff-becbca02a501" providerId="ADAL" clId="{05DE979D-936D-42F6-8C19-1337C85A1E66}" dt="2025-02-10T09:50:22.652" v="13"/>
          <ac:spMkLst>
            <pc:docMk/>
            <pc:sldMk cId="2326814099" sldId="308"/>
            <ac:spMk id="48" creationId="{6792798E-56DF-74BA-5D5D-873F99A61EC4}"/>
          </ac:spMkLst>
        </pc:spChg>
        <pc:spChg chg="mod">
          <ac:chgData name="柳田 優作（YUSAKU YANAGITA）" userId="eec769e5-c603-4458-beff-becbca02a501" providerId="ADAL" clId="{05DE979D-936D-42F6-8C19-1337C85A1E66}" dt="2025-02-10T09:50:29.305" v="35"/>
          <ac:spMkLst>
            <pc:docMk/>
            <pc:sldMk cId="2326814099" sldId="308"/>
            <ac:spMk id="49" creationId="{34A6B33E-F5AB-5B18-BDCE-AE89849F3D13}"/>
          </ac:spMkLst>
        </pc:spChg>
        <pc:spChg chg="mod">
          <ac:chgData name="柳田 優作（YUSAKU YANAGITA）" userId="eec769e5-c603-4458-beff-becbca02a501" providerId="ADAL" clId="{05DE979D-936D-42F6-8C19-1337C85A1E66}" dt="2025-02-10T09:49:39.194" v="8"/>
          <ac:spMkLst>
            <pc:docMk/>
            <pc:sldMk cId="2326814099" sldId="308"/>
            <ac:spMk id="51" creationId="{D7D17A7D-AF59-AFD4-88F3-0DB5129BD744}"/>
          </ac:spMkLst>
        </pc:spChg>
        <pc:spChg chg="mod">
          <ac:chgData name="柳田 優作（YUSAKU YANAGITA）" userId="eec769e5-c603-4458-beff-becbca02a501" providerId="ADAL" clId="{05DE979D-936D-42F6-8C19-1337C85A1E66}" dt="2025-02-10T09:51:09.612" v="104"/>
          <ac:spMkLst>
            <pc:docMk/>
            <pc:sldMk cId="2326814099" sldId="308"/>
            <ac:spMk id="52" creationId="{15CB7D6E-5CC9-9854-45B3-ABCD1DB86BCA}"/>
          </ac:spMkLst>
        </pc:spChg>
        <pc:spChg chg="mod">
          <ac:chgData name="柳田 優作（YUSAKU YANAGITA）" userId="eec769e5-c603-4458-beff-becbca02a501" providerId="ADAL" clId="{05DE979D-936D-42F6-8C19-1337C85A1E66}" dt="2025-02-10T09:49:30.234" v="7"/>
          <ac:spMkLst>
            <pc:docMk/>
            <pc:sldMk cId="2326814099" sldId="308"/>
            <ac:spMk id="55" creationId="{BA421780-CA18-750B-DF35-5CAEFC89D29F}"/>
          </ac:spMkLst>
        </pc:spChg>
        <pc:spChg chg="mod">
          <ac:chgData name="柳田 優作（YUSAKU YANAGITA）" userId="eec769e5-c603-4458-beff-becbca02a501" providerId="ADAL" clId="{05DE979D-936D-42F6-8C19-1337C85A1E66}" dt="2025-02-10T09:58:28.322" v="473" actId="14100"/>
          <ac:spMkLst>
            <pc:docMk/>
            <pc:sldMk cId="2326814099" sldId="308"/>
            <ac:spMk id="56" creationId="{25C79341-2B16-0338-67A0-1A6A447A22E9}"/>
          </ac:spMkLst>
        </pc:spChg>
        <pc:spChg chg="add mod">
          <ac:chgData name="柳田 優作（YUSAKU YANAGITA）" userId="eec769e5-c603-4458-beff-becbca02a501" providerId="ADAL" clId="{05DE979D-936D-42F6-8C19-1337C85A1E66}" dt="2025-02-10T09:51:34.393" v="131" actId="20577"/>
          <ac:spMkLst>
            <pc:docMk/>
            <pc:sldMk cId="2326814099" sldId="308"/>
            <ac:spMk id="70" creationId="{EF5C8C35-F519-C3D1-04C2-29E39621F478}"/>
          </ac:spMkLst>
        </pc:spChg>
        <pc:spChg chg="mod">
          <ac:chgData name="柳田 優作（YUSAKU YANAGITA）" userId="eec769e5-c603-4458-beff-becbca02a501" providerId="ADAL" clId="{05DE979D-936D-42F6-8C19-1337C85A1E66}" dt="2025-02-10T09:50:35.636" v="53"/>
          <ac:spMkLst>
            <pc:docMk/>
            <pc:sldMk cId="2326814099" sldId="308"/>
            <ac:spMk id="71" creationId="{3A9C795D-8A83-27A9-E6CA-47377B51DBD9}"/>
          </ac:spMkLst>
        </pc:spChg>
        <pc:spChg chg="mod">
          <ac:chgData name="柳田 優作（YUSAKU YANAGITA）" userId="eec769e5-c603-4458-beff-becbca02a501" providerId="ADAL" clId="{05DE979D-936D-42F6-8C19-1337C85A1E66}" dt="2025-02-10T09:49:47.767" v="9"/>
          <ac:spMkLst>
            <pc:docMk/>
            <pc:sldMk cId="2326814099" sldId="308"/>
            <ac:spMk id="72" creationId="{9CDE7A1C-86F6-8869-2728-7982F647499F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76" creationId="{47B3D98C-01C3-AF0A-8FB1-BF121D77144C}"/>
          </ac:spMkLst>
        </pc:spChg>
        <pc:spChg chg="mod">
          <ac:chgData name="柳田 優作（YUSAKU YANAGITA）" userId="eec769e5-c603-4458-beff-becbca02a501" providerId="ADAL" clId="{05DE979D-936D-42F6-8C19-1337C85A1E66}" dt="2025-02-10T09:49:56.978" v="10"/>
          <ac:spMkLst>
            <pc:docMk/>
            <pc:sldMk cId="2326814099" sldId="308"/>
            <ac:spMk id="78" creationId="{42A52052-2738-D17E-3275-0DD1104323B7}"/>
          </ac:spMkLst>
        </pc:spChg>
        <pc:spChg chg="mod">
          <ac:chgData name="柳田 優作（YUSAKU YANAGITA）" userId="eec769e5-c603-4458-beff-becbca02a501" providerId="ADAL" clId="{05DE979D-936D-42F6-8C19-1337C85A1E66}" dt="2025-02-10T09:51:02.753" v="93"/>
          <ac:spMkLst>
            <pc:docMk/>
            <pc:sldMk cId="2326814099" sldId="308"/>
            <ac:spMk id="79" creationId="{7E1D8D77-3892-1411-FC19-6BAB7F9AE7BE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82" creationId="{305AEECC-8C38-5FDE-99AF-1F06E08E9A4E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85" creationId="{5A0A2E54-B334-2EEC-9802-E8AE35CFFDE6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89" creationId="{1CA973D0-27CB-2517-B126-BD78A81A8C2E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92" creationId="{8B5D221E-3750-AC68-18EA-2A5D65C40539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93" creationId="{57BA28D8-7B15-9753-7CF0-A22C902986A3}"/>
          </ac:spMkLst>
        </pc:spChg>
        <pc:spChg chg="add mod">
          <ac:chgData name="柳田 優作（YUSAKU YANAGITA）" userId="eec769e5-c603-4458-beff-becbca02a501" providerId="ADAL" clId="{05DE979D-936D-42F6-8C19-1337C85A1E66}" dt="2025-02-10T09:49:11.429" v="2" actId="164"/>
          <ac:spMkLst>
            <pc:docMk/>
            <pc:sldMk cId="2326814099" sldId="308"/>
            <ac:spMk id="94" creationId="{8072BCB0-61CA-6626-3386-E6579EC57F42}"/>
          </ac:spMkLst>
        </pc:spChg>
        <pc:grpChg chg="mod">
          <ac:chgData name="柳田 優作（YUSAKU YANAGITA）" userId="eec769e5-c603-4458-beff-becbca02a501" providerId="ADAL" clId="{05DE979D-936D-42F6-8C19-1337C85A1E66}" dt="2025-02-10T09:52:06.170" v="134" actId="1076"/>
          <ac:grpSpMkLst>
            <pc:docMk/>
            <pc:sldMk cId="2326814099" sldId="308"/>
            <ac:grpSpMk id="95" creationId="{32B28F89-571D-EF9B-5F0C-C44151010327}"/>
          </ac:grpSpMkLst>
        </pc:grp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11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1312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55221" y="0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2/14</a:t>
            </a:fld>
            <a:endParaRPr kumimoji="1" lang="ja-JP" altLang="en-US"/>
          </a:p>
        </p:txBody>
      </p:sp>
      <p:sp>
        <p:nvSpPr>
          <p:cNvPr id="1313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982663" y="1243013"/>
            <a:ext cx="4841875" cy="33528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236" tIns="46118" rIns="92236" bIns="46118" rtlCol="0" anchor="ctr"/>
          <a:lstStyle/>
          <a:p>
            <a:endParaRPr lang="ja-JP" altLang="en-US"/>
          </a:p>
        </p:txBody>
      </p:sp>
      <p:sp>
        <p:nvSpPr>
          <p:cNvPr id="1314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80239" y="4783357"/>
            <a:ext cx="5446723" cy="3913364"/>
          </a:xfrm>
          <a:prstGeom prst="rect">
            <a:avLst/>
          </a:prstGeom>
        </p:spPr>
        <p:txBody>
          <a:bodyPr vert="horz" lIns="92236" tIns="46118" rIns="92236" bIns="46118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1315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1" y="9440372"/>
            <a:ext cx="2950375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1316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55221" y="9440372"/>
            <a:ext cx="2950374" cy="498966"/>
          </a:xfrm>
          <a:prstGeom prst="rect">
            <a:avLst/>
          </a:prstGeom>
        </p:spPr>
        <p:txBody>
          <a:bodyPr vert="horz" lIns="92236" tIns="46118" rIns="92236" bIns="46118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  <a:tileRect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  <a:tileRect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  <a:tileRect/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DT Template_A4_J_202201_補足版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  <a:tileRect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  <a:tileRect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/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  <a:tileRect/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  <a:tileRect/>
        </a:gradFill>
      </a:bgFillStyleLst>
    </a:fmtScheme>
  </a:themeElements>
  <a:objectDefaults>
    <a:spDef>
      <a:spPr bwMode="gray">
        <a:custGeom>
          <a:avLst/>
          <a:gdLst/>
          <a:ahLst/>
          <a:cxnLst/>
          <a:rect l="l" t="t" r="r" b="b"/>
          <a:pathLst/>
        </a:custGeom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vertOverflow="overflow" horzOverflow="overflow" wrap="square" lIns="0" tIns="0" rIns="0" bIns="0" numCol="1" spcCol="0" rtlCol="0" fromWordArt="0" anchor="ctr" anchorCtr="0" forceAA="0" compatLnSpc="1"/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custGeom>
          <a:avLst/>
          <a:gdLst/>
          <a:ahLst/>
          <a:cxnLst/>
          <a:rect l="l" t="t" r="r" b="b"/>
          <a:pathLst/>
        </a:custGeom>
        <a:ln w="12700">
          <a:solidFill>
            <a:schemeClr val="tx2"/>
          </a:solidFill>
        </a:ln>
      </a:spPr>
      <a:bodyPr vertOverflow="overflow" horzOverflow="overflow"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custGeom>
          <a:avLst/>
          <a:gdLst/>
          <a:ahLst/>
          <a:cxnLst/>
          <a:rect l="l" t="t" r="r" b="b"/>
          <a:pathLst/>
        </a:custGeom>
        <a:noFill/>
      </a:spPr>
      <a:bodyPr vertOverflow="overflow" horzOverflow="overflow"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2_DT Template_A4_J_202201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DT">
      <a:majorFont>
        <a:latin typeface="Calibri"/>
        <a:ea typeface="Yu Gothic UI"/>
        <a:cs typeface=""/>
      </a:majorFont>
      <a:minorFont>
        <a:latin typeface="Calibri Light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2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20220411_最新_DTテンプレート　【A4版】.pptx" id="{5603B681-7E36-40F4-9F20-6D85D586622A}" vid="{29D29DD6-4EE9-4D52-ABBC-C989986DE32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activity xmlns="21d17dcb-5c9d-4e46-9aef-4af11db5eeef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ドキュメント" ma:contentTypeID="0x010100CC053B52A426F543B8393C8E75B8A2CF" ma:contentTypeVersion="12" ma:contentTypeDescription="新しいドキュメントを作成します。" ma:contentTypeScope="" ma:versionID="00a6dd60115898ce52f3992fa8d33116">
  <xsd:schema xmlns:xsd="http://www.w3.org/2001/XMLSchema" xmlns:xs="http://www.w3.org/2001/XMLSchema" xmlns:p="http://schemas.microsoft.com/office/2006/metadata/properties" xmlns:ns3="21d17dcb-5c9d-4e46-9aef-4af11db5eeef" xmlns:ns4="663c78d0-832a-429a-a66e-3ce03cce66f0" targetNamespace="http://schemas.microsoft.com/office/2006/metadata/properties" ma:root="true" ma:fieldsID="d2053509c2705f26279b85b62a63cad7" ns3:_="" ns4:_="">
    <xsd:import namespace="21d17dcb-5c9d-4e46-9aef-4af11db5eeef"/>
    <xsd:import namespace="663c78d0-832a-429a-a66e-3ce03cce66f0"/>
    <xsd:element name="properties">
      <xsd:complexType>
        <xsd:sequence>
          <xsd:element name="documentManagement">
            <xsd:complexType>
              <xsd:all>
                <xsd:element ref="ns3:_activity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Metadata" minOccurs="0"/>
                <xsd:element ref="ns3:MediaServiceFastMetadata" minOccurs="0"/>
                <xsd:element ref="ns3:MediaServiceObjectDetectorVersions" minOccurs="0"/>
                <xsd:element ref="ns3:MediaServiceSystem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1d17dcb-5c9d-4e46-9aef-4af11db5eeef" elementFormDefault="qualified">
    <xsd:import namespace="http://schemas.microsoft.com/office/2006/documentManagement/types"/>
    <xsd:import namespace="http://schemas.microsoft.com/office/infopath/2007/PartnerControls"/>
    <xsd:element name="_activity" ma:index="8" nillable="true" ma:displayName="_activity" ma:hidden="true" ma:internalName="_activity">
      <xsd:simpleType>
        <xsd:restriction base="dms:Note"/>
      </xsd:simpleType>
    </xsd:element>
    <xsd:element name="MediaServiceMetadata" ma:index="12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3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ystemTags" ma:index="15" nillable="true" ma:displayName="MediaServiceSystemTags" ma:hidden="true" ma:internalName="MediaServiceSystemTags" ma:readOnly="true">
      <xsd:simpleType>
        <xsd:restriction base="dms:Note"/>
      </xsd:simple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19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3c78d0-832a-429a-a66e-3ce03cce66f0" elementFormDefault="qualified">
    <xsd:import namespace="http://schemas.microsoft.com/office/2006/documentManagement/types"/>
    <xsd:import namespace="http://schemas.microsoft.com/office/infopath/2007/PartnerControls"/>
    <xsd:element name="SharedWithUsers" ma:index="9" nillable="true" ma:displayName="共有相手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0" nillable="true" ma:displayName="共有相手の詳細情報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1" nillable="true" ma:displayName="共有のヒントのハッシュ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コンテンツ タイプ"/>
        <xsd:element ref="dc:title" minOccurs="0" maxOccurs="1" ma:index="4" ma:displayName="タイトル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56045443-0EB7-47A2-9904-C9FA1C469B71}">
  <ds:schemaRefs>
    <ds:schemaRef ds:uri="http://www.w3.org/XML/1998/namespace"/>
    <ds:schemaRef ds:uri="http://purl.org/dc/elements/1.1/"/>
    <ds:schemaRef ds:uri="21d17dcb-5c9d-4e46-9aef-4af11db5eeef"/>
    <ds:schemaRef ds:uri="http://purl.org/dc/dcmitype/"/>
    <ds:schemaRef ds:uri="http://schemas.microsoft.com/office/infopath/2007/PartnerControls"/>
    <ds:schemaRef ds:uri="http://purl.org/dc/terms/"/>
    <ds:schemaRef ds:uri="http://schemas.microsoft.com/office/2006/documentManagement/types"/>
    <ds:schemaRef ds:uri="http://schemas.openxmlformats.org/package/2006/metadata/core-properties"/>
    <ds:schemaRef ds:uri="663c78d0-832a-429a-a66e-3ce03cce66f0"/>
    <ds:schemaRef ds:uri="http://schemas.microsoft.com/office/2006/metadata/properties"/>
  </ds:schemaRefs>
</ds:datastoreItem>
</file>

<file path=customXml/itemProps2.xml><?xml version="1.0" encoding="utf-8"?>
<ds:datastoreItem xmlns:ds="http://schemas.openxmlformats.org/officeDocument/2006/customXml" ds:itemID="{B5D29915-0003-4FEE-AF16-2F975AC9E6AD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41555CE8-61FB-403E-9E81-E178E40B325B}">
  <ds:schemaRefs>
    <ds:schemaRef ds:uri="21d17dcb-5c9d-4e46-9aef-4af11db5eeef"/>
    <ds:schemaRef ds:uri="663c78d0-832a-429a-a66e-3ce03cce66f0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20220411_最新_DTテンプレート　【A4版】</Template>
  <TotalTime>7</TotalTime>
  <Words>144</Words>
  <Application>Microsoft Office PowerPoint</Application>
  <PresentationFormat>A4 210 x 297 mm</PresentationFormat>
  <Paragraphs>59</Paragraphs>
  <Slides>1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8</vt:i4>
      </vt:variant>
      <vt:variant>
        <vt:lpstr>テーマ</vt:lpstr>
      </vt:variant>
      <vt:variant>
        <vt:i4>10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1</vt:i4>
      </vt:variant>
    </vt:vector>
  </HeadingPairs>
  <TitlesOfParts>
    <vt:vector size="20" baseType="lpstr">
      <vt:lpstr>Meiryo UI</vt:lpstr>
      <vt:lpstr>Yu Gothic UI</vt:lpstr>
      <vt:lpstr>Arial</vt:lpstr>
      <vt:lpstr>Calibri</vt:lpstr>
      <vt:lpstr>Calibri Light</vt:lpstr>
      <vt:lpstr>Verdana</vt:lpstr>
      <vt:lpstr>Wingdings</vt:lpstr>
      <vt:lpstr>Wingdings 2</vt:lpstr>
      <vt:lpstr>DT Template_A4_J_202201</vt:lpstr>
      <vt:lpstr>DT Template_A4_J_202201_補足版</vt:lpstr>
      <vt:lpstr>1_DT Template_A4_J_202201</vt:lpstr>
      <vt:lpstr>2_DT Template_A4_J_202201</vt:lpstr>
      <vt:lpstr>3_DT Template_A4_J_202201</vt:lpstr>
      <vt:lpstr>DT Template_A4_J_202301</vt:lpstr>
      <vt:lpstr>1_DT Template_A4_J_202301</vt:lpstr>
      <vt:lpstr>3_DT Template_A4_J_202301</vt:lpstr>
      <vt:lpstr>4_DT Template_A4_J_202301</vt:lpstr>
      <vt:lpstr>地球局所管事項説明資料</vt:lpstr>
      <vt:lpstr>think-cell スライド</vt:lpstr>
      <vt:lpstr>PowerPoint プレゼンテーション</vt:lpstr>
    </vt:vector>
  </TitlesOfParts>
  <Company>DT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プレゼンテーション</dc:title>
  <dc:creator>Baek, Inchan</dc:creator>
  <cp:lastModifiedBy>柳田 優作（YUSAKU YANAGITA）</cp:lastModifiedBy>
  <cp:revision>6</cp:revision>
  <cp:lastPrinted>2024-02-05T06:43:47Z</cp:lastPrinted>
  <dcterms:created xsi:type="dcterms:W3CDTF">2022-04-11T02:09:57Z</dcterms:created>
  <dcterms:modified xsi:type="dcterms:W3CDTF">2025-02-14T05:35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C053B52A426F543B8393C8E75B8A2CF</vt:lpwstr>
  </property>
  <property fmtid="{D5CDD505-2E9C-101B-9397-08002B2CF9AE}" pid="3" name="MSIP_Label_ea60d57e-af5b-4752-ac57-3e4f28ca11dc_Enabled">
    <vt:lpwstr>true</vt:lpwstr>
  </property>
  <property fmtid="{D5CDD505-2E9C-101B-9397-08002B2CF9AE}" pid="4" name="MSIP_Label_ea60d57e-af5b-4752-ac57-3e4f28ca11dc_SetDate">
    <vt:lpwstr>2021-06-10T06:45:02Z</vt:lpwstr>
  </property>
  <property fmtid="{D5CDD505-2E9C-101B-9397-08002B2CF9AE}" pid="5" name="MSIP_Label_ea60d57e-af5b-4752-ac57-3e4f28ca11dc_Method">
    <vt:lpwstr>Standard</vt:lpwstr>
  </property>
  <property fmtid="{D5CDD505-2E9C-101B-9397-08002B2CF9AE}" pid="6" name="MSIP_Label_ea60d57e-af5b-4752-ac57-3e4f28ca11dc_Name">
    <vt:lpwstr>ea60d57e-af5b-4752-ac57-3e4f28ca11dc</vt:lpwstr>
  </property>
  <property fmtid="{D5CDD505-2E9C-101B-9397-08002B2CF9AE}" pid="7" name="MSIP_Label_ea60d57e-af5b-4752-ac57-3e4f28ca11dc_SiteId">
    <vt:lpwstr>36da45f1-dd2c-4d1f-af13-5abe46b99921</vt:lpwstr>
  </property>
  <property fmtid="{D5CDD505-2E9C-101B-9397-08002B2CF9AE}" pid="8" name="MSIP_Label_ea60d57e-af5b-4752-ac57-3e4f28ca11dc_ActionId">
    <vt:lpwstr>345753b9-61e8-4351-aba5-64732c5426f6</vt:lpwstr>
  </property>
  <property fmtid="{D5CDD505-2E9C-101B-9397-08002B2CF9AE}" pid="9" name="MSIP_Label_ea60d57e-af5b-4752-ac57-3e4f28ca11dc_ContentBits">
    <vt:lpwstr>0</vt:lpwstr>
  </property>
  <property fmtid="{D5CDD505-2E9C-101B-9397-08002B2CF9AE}" pid="10" name="MediaServiceImageTags">
    <vt:lpwstr/>
  </property>
</Properties>
</file>